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9"/>
  </p:notesMasterIdLst>
  <p:handoutMasterIdLst>
    <p:handoutMasterId r:id="rId10"/>
  </p:handoutMasterIdLst>
  <p:sldIdLst>
    <p:sldId id="286" r:id="rId4"/>
    <p:sldId id="1501" r:id="rId5"/>
    <p:sldId id="1502" r:id="rId6"/>
    <p:sldId id="1505" r:id="rId7"/>
    <p:sldId id="1504" r:id="rId8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2"/>
            <p14:sldId id="1505"/>
            <p14:sldId id="1504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4/4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4/4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72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96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49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25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9871778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前端仪表盘开发完毕，正在测试中，底层数据客户至今未提供完整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奶酪仪表盘开发完毕，底层数据核对完成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1" descr="Alert Stop 2">
            <a:extLst>
              <a:ext uri="{FF2B5EF4-FFF2-40B4-BE49-F238E27FC236}">
                <a16:creationId xmlns:a16="http://schemas.microsoft.com/office/drawing/2014/main" id="{A7A6AD5E-1842-4926-8769-F8DC24E76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800578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1~4/4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7" name="表格 3">
            <a:extLst>
              <a:ext uri="{FF2B5EF4-FFF2-40B4-BE49-F238E27FC236}">
                <a16:creationId xmlns:a16="http://schemas.microsoft.com/office/drawing/2014/main" id="{8ACAC356-50B5-49F9-85FD-995DDFCBD1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186066"/>
              </p:ext>
            </p:extLst>
          </p:nvPr>
        </p:nvGraphicFramePr>
        <p:xfrm>
          <a:off x="673881" y="2065412"/>
          <a:ext cx="8928992" cy="2218201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开发完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覃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奶酪仪表盘开发，底层数据核对完成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623732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-4/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六张电商仪表盘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于现有的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部分历史数据，核对数据准确性和仪表盘功能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并联系开发人员修复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-4/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新导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电商历史数据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底层数据核对，脚本修改和</a:t>
                      </a:r>
                      <a:r>
                        <a:rPr lang="en-US" altLang="zh-C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ylin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根据数据湖提供的历史数据，调整后台脚本和修复部分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并针对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TL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改调整</a:t>
                      </a:r>
                      <a:r>
                        <a:rPr kumimoji="0" lang="en-US" altLang="zh-CN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ylin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模型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590755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2-4/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四张明细表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，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四张明细表集成测试，核对数据和检查仪表盘功能。汇总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并指派开发人员修复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8~4/1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7" name="表格 3">
            <a:extLst>
              <a:ext uri="{FF2B5EF4-FFF2-40B4-BE49-F238E27FC236}">
                <a16:creationId xmlns:a16="http://schemas.microsoft.com/office/drawing/2014/main" id="{8C84F9D6-51E9-4612-BE61-8F632A5CD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168790"/>
              </p:ext>
            </p:extLst>
          </p:nvPr>
        </p:nvGraphicFramePr>
        <p:xfrm>
          <a:off x="471488" y="2065412"/>
          <a:ext cx="8928992" cy="2423432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997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8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电商历史数据初始化，并部署脚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将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18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所有平台的电商数据接入底层数据，并调整脚本完成部署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74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权限及功能测试，对所有仪表盘的细分权限进行测试，并核对各权限下的数据准确性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郑为春，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针对于各类小权限下的数据准确性和完整性进行验证，及时修复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590755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数据核对及功能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于现有奶酪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数据，核对数据准确性和仪表盘功能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23790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及奶酪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部署生产系统并完成上线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7839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1-4/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运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接用户修复上线后的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问题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17647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15~4/19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F3326A75-EB56-45CB-AFF9-1856309B7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40275"/>
              </p:ext>
            </p:extLst>
          </p:nvPr>
        </p:nvGraphicFramePr>
        <p:xfrm>
          <a:off x="753866" y="1705372"/>
          <a:ext cx="8928992" cy="1023825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5-4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监控生产环境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调度状态，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仪表盘及数据脚本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运维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生产系统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程序监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5-4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支持系统上线后的系统稳定运行，分析与修改禅道上提出的问题后发布生产系统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日常运维与问题处理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058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1486C-662D-4B58-9CC6-6399A3B0E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5</a:t>
            </a:fld>
            <a:endParaRPr lang="en-US" altLang="zh-CN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25AEDDC-2DDB-4333-B349-03B3D1E4D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162579"/>
              </p:ext>
            </p:extLst>
          </p:nvPr>
        </p:nvGraphicFramePr>
        <p:xfrm>
          <a:off x="543496" y="2083161"/>
          <a:ext cx="8928992" cy="1180120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7479">
                <a:tc gridSpan="8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问题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020585"/>
                  </a:ext>
                </a:extLst>
              </a:tr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序号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问题描述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状态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优先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负责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提出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预计解决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原因及解决方案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：</a:t>
                      </a:r>
                      <a:b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直至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才提供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8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历史数据，导致部分开发工作延误和测试不完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、刘洪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402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408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在客户提供完整历史数据后，完成后台开发工作和测试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72274FC-76A7-4704-B13C-4352640D3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问题</a:t>
            </a:r>
          </a:p>
        </p:txBody>
      </p:sp>
    </p:spTree>
    <p:extLst>
      <p:ext uri="{BB962C8B-B14F-4D97-AF65-F5344CB8AC3E}">
        <p14:creationId xmlns:p14="http://schemas.microsoft.com/office/powerpoint/2010/main" val="1890273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98</TotalTime>
  <Words>960</Words>
  <Application>Microsoft Office PowerPoint</Application>
  <PresentationFormat>Custom</PresentationFormat>
  <Paragraphs>131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988</cp:revision>
  <dcterms:created xsi:type="dcterms:W3CDTF">2011-03-15T09:00:00Z</dcterms:created>
  <dcterms:modified xsi:type="dcterms:W3CDTF">2019-04-04T06:4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